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45"/>
  </p:notesMasterIdLst>
  <p:sldIdLst>
    <p:sldId id="3343" r:id="rId9"/>
    <p:sldId id="2147375036" r:id="rId10"/>
    <p:sldId id="2147375034" r:id="rId11"/>
    <p:sldId id="2147375028" r:id="rId12"/>
    <p:sldId id="2147375033" r:id="rId13"/>
    <p:sldId id="2147375032" r:id="rId14"/>
    <p:sldId id="2147375037" r:id="rId15"/>
    <p:sldId id="2147375038" r:id="rId16"/>
    <p:sldId id="2147375039" r:id="rId17"/>
    <p:sldId id="2147375031" r:id="rId18"/>
    <p:sldId id="2147375035" r:id="rId19"/>
    <p:sldId id="2147375030" r:id="rId20"/>
    <p:sldId id="2147375029" r:id="rId21"/>
    <p:sldId id="3346" r:id="rId22"/>
    <p:sldId id="2145705568" r:id="rId23"/>
    <p:sldId id="2145705566" r:id="rId24"/>
    <p:sldId id="2147375019" r:id="rId25"/>
    <p:sldId id="2147375017" r:id="rId26"/>
    <p:sldId id="2145705874" r:id="rId27"/>
    <p:sldId id="2145705878" r:id="rId28"/>
    <p:sldId id="2145705879" r:id="rId29"/>
    <p:sldId id="2145705900" r:id="rId30"/>
    <p:sldId id="2147375020" r:id="rId31"/>
    <p:sldId id="2145705872" r:id="rId32"/>
    <p:sldId id="2145705907" r:id="rId33"/>
    <p:sldId id="2147375014" r:id="rId34"/>
    <p:sldId id="2145705889" r:id="rId35"/>
    <p:sldId id="2147375021" r:id="rId36"/>
    <p:sldId id="2147375027" r:id="rId37"/>
    <p:sldId id="2147375000" r:id="rId38"/>
    <p:sldId id="2147375004" r:id="rId39"/>
    <p:sldId id="2147375005" r:id="rId40"/>
    <p:sldId id="2147375006" r:id="rId41"/>
    <p:sldId id="2147375007" r:id="rId42"/>
    <p:sldId id="2147375025" r:id="rId43"/>
    <p:sldId id="2147375026" r:id="rId4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002E3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2783"/>
  </p:normalViewPr>
  <p:slideViewPr>
    <p:cSldViewPr snapToGrid="0">
      <p:cViewPr varScale="1">
        <p:scale>
          <a:sx n="91" d="100"/>
          <a:sy n="91" d="100"/>
        </p:scale>
        <p:origin x="257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commentAuthors" Target="commentAuthor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3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3756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22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807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203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797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983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5085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8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image" Target="../media/image90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image" Target="../media/image92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2" Type="http://schemas.openxmlformats.org/officeDocument/2006/relationships/image" Target="../media/image94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emf"/><Relationship Id="rId2" Type="http://schemas.openxmlformats.org/officeDocument/2006/relationships/image" Target="../media/image96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9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0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9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em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1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10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0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82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r 13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3600" b="1" baseline="30000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d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endParaRPr lang="en-US" sz="36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478A4858-C293-1DCB-A5E0-3B63DBA78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718" y="1118338"/>
            <a:ext cx="5378824" cy="412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1982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D3355B7-CDF0-8280-B1EA-35938AABB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7380893-B9CD-2CD5-7887-8E980358A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807DED8-D364-3ADA-421A-B076E565A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46" y="1281847"/>
            <a:ext cx="5428007" cy="3453272"/>
          </a:xfrm>
          <a:prstGeom prst="rect">
            <a:avLst/>
          </a:prstGeom>
        </p:spPr>
      </p:pic>
      <p:pic>
        <p:nvPicPr>
          <p:cNvPr id="5" name="Picture 4" descr="Graphical user interface, chart, application, Excel&#10;&#10;Description automatically generated">
            <a:extLst>
              <a:ext uri="{FF2B5EF4-FFF2-40B4-BE49-F238E27FC236}">
                <a16:creationId xmlns:a16="http://schemas.microsoft.com/office/drawing/2014/main" id="{BE280841-9C5E-BBCE-4B20-D73CA2A3B2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553" y="1281847"/>
            <a:ext cx="6486214" cy="345327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8C5F217-8528-A61A-5036-89799B0BD57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all sample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39359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915069F-53C3-4BF8-2299-5489A09953E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0"/>
          <a:stretch/>
        </p:blipFill>
        <p:spPr>
          <a:xfrm>
            <a:off x="652049" y="1162739"/>
            <a:ext cx="4941928" cy="4532522"/>
          </a:xfrm>
          <a:prstGeom prst="rect">
            <a:avLst/>
          </a:prstGeom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A4456FBC-BE1E-1B7D-C401-F3F54CE1DF7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1" r="2326" b="16250"/>
          <a:stretch/>
        </p:blipFill>
        <p:spPr>
          <a:xfrm>
            <a:off x="6306670" y="1162739"/>
            <a:ext cx="5634317" cy="463564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DA6B3EA-5E54-928E-FD31-0C1186F70EA4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iPSC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809006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72B76D-48FF-D4B8-9080-58E1A231166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NGN2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DF9B9CC8-AE96-EF5D-43AD-F43B7B9F1E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5748"/>
            <a:ext cx="6037730" cy="3456214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120176A-3A1B-50C7-31A2-9C49414752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270" y="1605747"/>
            <a:ext cx="6037730" cy="466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8586E67-544B-D162-8388-83761169F0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95" y="1089213"/>
            <a:ext cx="10094421" cy="473336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8C4687E-9253-A31D-0FA8-9C58CE3890B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Sy5Y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1085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012" y="783884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0" y="653736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8" name="Picture 7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0BF2FF-D25F-4956-92A8-4204FECA70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2478" y="777803"/>
            <a:ext cx="4310563" cy="6196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82799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50" y="764802"/>
            <a:ext cx="4826270" cy="493657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77CF4E9B-6419-BDF9-7CAC-6EB8C6BF49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038" y="783884"/>
            <a:ext cx="4456496" cy="5064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5D2D91-0D87-59CF-56CD-C3E86C938A34}"/>
              </a:ext>
            </a:extLst>
          </p:cNvPr>
          <p:cNvSpPr txBox="1"/>
          <p:nvPr/>
        </p:nvSpPr>
        <p:spPr>
          <a:xfrm>
            <a:off x="1564155" y="5663711"/>
            <a:ext cx="4162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Treatment vs 3 Control Sampl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66930F-7270-8965-113F-BE125D306C80}"/>
              </a:ext>
            </a:extLst>
          </p:cNvPr>
          <p:cNvSpPr txBox="1"/>
          <p:nvPr/>
        </p:nvSpPr>
        <p:spPr>
          <a:xfrm>
            <a:off x="7020075" y="5663711"/>
            <a:ext cx="5252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l </a:t>
            </a:r>
            <a:r>
              <a:rPr lang="en-US" dirty="0" err="1"/>
              <a:t>avalaible</a:t>
            </a:r>
            <a:r>
              <a:rPr lang="en-US" dirty="0"/>
              <a:t> Treatment vs 4 Control Samples </a:t>
            </a:r>
          </a:p>
        </p:txBody>
      </p:sp>
    </p:spTree>
    <p:extLst>
      <p:ext uri="{BB962C8B-B14F-4D97-AF65-F5344CB8AC3E}">
        <p14:creationId xmlns:p14="http://schemas.microsoft.com/office/powerpoint/2010/main" val="375109428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F25D1-8CA7-2FC2-B603-E2590D3612D8}"/>
              </a:ext>
            </a:extLst>
          </p:cNvPr>
          <p:cNvSpPr txBox="1"/>
          <p:nvPr/>
        </p:nvSpPr>
        <p:spPr>
          <a:xfrm>
            <a:off x="7391340" y="1857845"/>
            <a:ext cx="2766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 subs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C8FDF-6821-9E53-4F8F-EFA0AE8B5204}"/>
              </a:ext>
            </a:extLst>
          </p:cNvPr>
          <p:cNvSpPr txBox="1"/>
          <p:nvPr/>
        </p:nvSpPr>
        <p:spPr>
          <a:xfrm>
            <a:off x="7535042" y="4177106"/>
            <a:ext cx="2766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% subset</a:t>
            </a:r>
          </a:p>
        </p:txBody>
      </p:sp>
      <p:pic>
        <p:nvPicPr>
          <p:cNvPr id="7" name="Picture 6" descr="Chart&#10;&#10;Description automatically generated with medium confidence">
            <a:extLst>
              <a:ext uri="{FF2B5EF4-FFF2-40B4-BE49-F238E27FC236}">
                <a16:creationId xmlns:a16="http://schemas.microsoft.com/office/drawing/2014/main" id="{4E5DD541-9249-6F90-697E-576BACEE3B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73" y="783884"/>
            <a:ext cx="4310563" cy="6196434"/>
          </a:xfrm>
          <a:prstGeom prst="rect">
            <a:avLst/>
          </a:prstGeom>
        </p:spPr>
      </p:pic>
      <p:pic>
        <p:nvPicPr>
          <p:cNvPr id="9" name="Picture 8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79130E64-BA47-0174-ACC9-4AA95A38F3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594" y="2275817"/>
            <a:ext cx="6155773" cy="1846732"/>
          </a:xfrm>
          <a:prstGeom prst="rect">
            <a:avLst/>
          </a:prstGeom>
        </p:spPr>
      </p:pic>
      <p:pic>
        <p:nvPicPr>
          <p:cNvPr id="15" name="Picture 14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603491E8-8693-96F8-A291-97825437ED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484" y="4559622"/>
            <a:ext cx="5887883" cy="1766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8509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42659</TotalTime>
  <Words>1161</Words>
  <Application>Microsoft Macintosh PowerPoint</Application>
  <PresentationFormat>Widescreen</PresentationFormat>
  <Paragraphs>417</Paragraphs>
  <Slides>3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6</vt:i4>
      </vt:variant>
    </vt:vector>
  </HeadingPairs>
  <TitlesOfParts>
    <vt:vector size="57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5</cp:revision>
  <dcterms:created xsi:type="dcterms:W3CDTF">2021-06-27T14:47:41Z</dcterms:created>
  <dcterms:modified xsi:type="dcterms:W3CDTF">2023-03-27T15:12:05Z</dcterms:modified>
</cp:coreProperties>
</file>